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7"/>
  </p:notesMasterIdLst>
  <p:handoutMasterIdLst>
    <p:handoutMasterId r:id="rId18"/>
  </p:handoutMasterIdLst>
  <p:sldIdLst>
    <p:sldId id="259" r:id="rId6"/>
    <p:sldId id="264" r:id="rId7"/>
    <p:sldId id="293" r:id="rId8"/>
    <p:sldId id="297" r:id="rId9"/>
    <p:sldId id="301" r:id="rId10"/>
    <p:sldId id="263" r:id="rId11"/>
    <p:sldId id="265" r:id="rId12"/>
    <p:sldId id="266" r:id="rId13"/>
    <p:sldId id="267" r:id="rId14"/>
    <p:sldId id="302" r:id="rId15"/>
    <p:sldId id="268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89" autoAdjust="0"/>
    <p:restoredTop sz="51759" autoAdjust="0"/>
  </p:normalViewPr>
  <p:slideViewPr>
    <p:cSldViewPr snapToGrid="0">
      <p:cViewPr varScale="1">
        <p:scale>
          <a:sx n="79" d="100"/>
          <a:sy n="79" d="100"/>
        </p:scale>
        <p:origin x="108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1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nb-NO" sz="1200" dirty="0"/>
              <a:t>Noen vesentlig faktorer: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Fagmiljøer som er villige til å investere og satse, både i form av ansatte og timer, men også interesse for å eksperimentere med nye læringsformer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Administrativ støtte: mye koordineringsarbeid på tvers og med aktører i det offentlige og næringslivet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Prosjektledere som setter pris på tverrfaglighet over alt annen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Deltakere som ser verdien av tverrinstitusjonelt samarbeid, og er i stand til å realisere det potensiale som finnes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Samarbeid med LINK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nb-NO" sz="1200" dirty="0"/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200" dirty="0"/>
              <a:t>Dra hjelp fra SV-</a:t>
            </a:r>
            <a:r>
              <a:rPr lang="nb-NO" sz="1200" dirty="0" err="1"/>
              <a:t>fak</a:t>
            </a:r>
            <a:r>
              <a:rPr lang="nb-NO" sz="1200" dirty="0"/>
              <a:t> og sentralt?</a:t>
            </a:r>
            <a:endParaRPr lang="nb-NO" sz="800" dirty="0"/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Ressurser til opprettelse/fornyelse av institusjonelle samarbeidsavtaler med det offentlige og næringslivet (litt som utvekslingsavtaler)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Kan inngå som et prosjekt for den ny opprettede EILIN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Støtte til utvikling av prosjektemner/praksisnært emner på tvers av disipliner.</a:t>
            </a:r>
          </a:p>
          <a:p>
            <a:pPr marL="171450" indent="-1714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Mulig at oppskalering i antall studenter ikke lar seg gjøre uten nedskalering av opplegget (fra 30 til 10 studiepoeng?).</a:t>
            </a: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029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udentenes tilbakemeldinger - om tverrfaglighet, relevans og nettverk: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veldig positive (gjennom årlige grundige evalueringer og refleksjonsnotater. 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idligere </a:t>
            </a:r>
            <a:r>
              <a:rPr lang="nb-NO" sz="180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ityStudio</a:t>
            </a:r>
            <a:r>
              <a:rPr lang="nb-NO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studenter legger særlig vekt på betydningen av å jobbe tverrfaglig med prosjekter og å få et større nettverk, som blant annet førte til sommerjobber. 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De erfarte også at de ble invitert til kommunen for å presentere prosjektet og bosted på andre måter. </a:t>
            </a:r>
          </a:p>
          <a:p>
            <a:pPr marL="285750" indent="-285750">
              <a:buFontTx/>
              <a:buChar char="-"/>
            </a:pPr>
            <a:r>
              <a:rPr lang="nb-NO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atte pris på den interaktive formen for undervisning, som ble lagt opp til. </a:t>
            </a:r>
            <a:endParaRPr lang="nb-NO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1063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0966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3271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8772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op title,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itle Text"/>
          <p:cNvSpPr txBox="1">
            <a:spLocks noGrp="1"/>
          </p:cNvSpPr>
          <p:nvPr>
            <p:ph type="title"/>
          </p:nvPr>
        </p:nvSpPr>
        <p:spPr>
          <a:xfrm>
            <a:off x="1269685" y="0"/>
            <a:ext cx="9652630" cy="183552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15" name="Body Level One…"/>
          <p:cNvSpPr txBox="1">
            <a:spLocks noGrp="1"/>
          </p:cNvSpPr>
          <p:nvPr>
            <p:ph type="body" idx="1"/>
          </p:nvPr>
        </p:nvSpPr>
        <p:spPr>
          <a:xfrm>
            <a:off x="1324391" y="2082746"/>
            <a:ext cx="9543219" cy="4120334"/>
          </a:xfrm>
          <a:prstGeom prst="rect">
            <a:avLst/>
          </a:prstGeom>
        </p:spPr>
        <p:txBody>
          <a:bodyPr/>
          <a:lstStyle>
            <a:lvl1pPr marL="317500" indent="-317500">
              <a:lnSpc>
                <a:spcPts val="2400"/>
              </a:lnSpc>
              <a:buSzPct val="90000"/>
              <a:buChar char="•"/>
              <a:defRPr sz="2000" spc="-20"/>
            </a:lvl1pPr>
            <a:lvl2pPr marL="317500" indent="-317500">
              <a:lnSpc>
                <a:spcPts val="2400"/>
              </a:lnSpc>
              <a:buSzPct val="100000"/>
              <a:buChar char="•"/>
              <a:defRPr sz="2000" spc="-20"/>
            </a:lvl2pPr>
            <a:lvl3pPr marL="317500" indent="-317500">
              <a:lnSpc>
                <a:spcPts val="2400"/>
              </a:lnSpc>
              <a:buSzPct val="100000"/>
              <a:buChar char="•"/>
              <a:defRPr sz="2000" spc="-20"/>
            </a:lvl3pPr>
            <a:lvl4pPr marL="317500" indent="-317500">
              <a:lnSpc>
                <a:spcPts val="2400"/>
              </a:lnSpc>
              <a:buSzPct val="100000"/>
              <a:buChar char="•"/>
              <a:defRPr sz="2000" spc="-20"/>
            </a:lvl4pPr>
            <a:lvl5pPr marL="317500" indent="-317500">
              <a:lnSpc>
                <a:spcPts val="2400"/>
              </a:lnSpc>
              <a:buSzPct val="100000"/>
              <a:buChar char="•"/>
              <a:defRPr sz="2000" spc="-2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6" name="Institute of Design // AHO // RT"/>
          <p:cNvSpPr txBox="1">
            <a:spLocks noGrp="1"/>
          </p:cNvSpPr>
          <p:nvPr>
            <p:ph type="body" sz="quarter" idx="13"/>
          </p:nvPr>
        </p:nvSpPr>
        <p:spPr>
          <a:xfrm>
            <a:off x="2306627" y="6450304"/>
            <a:ext cx="1983939" cy="210633"/>
          </a:xfrm>
          <a:prstGeom prst="rect">
            <a:avLst/>
          </a:prstGeom>
        </p:spPr>
        <p:txBody>
          <a:bodyPr wrap="none" lIns="35718" tIns="35718" rIns="35718" bIns="35718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900" spc="9">
                <a:solidFill>
                  <a:srgbClr val="000000"/>
                </a:solidFill>
              </a:defRPr>
            </a:lvl1pPr>
          </a:lstStyle>
          <a:p>
            <a:r>
              <a:t>Institute of Design // AHO // RT</a:t>
            </a:r>
          </a:p>
        </p:txBody>
      </p:sp>
      <p:sp>
        <p:nvSpPr>
          <p:cNvPr id="11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7695548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studier/emner/sv/iss/HGO4203/" TargetMode="External"/><Relationship Id="rId2" Type="http://schemas.openxmlformats.org/officeDocument/2006/relationships/hyperlink" Target="https://www.sv.uio.no/iss/forskning/om/osloforskning/" TargetMode="External"/><Relationship Id="rId1" Type="http://schemas.openxmlformats.org/officeDocument/2006/relationships/slideLayout" Target="../slideLayouts/slideLayout19.xml"/><Relationship Id="rId5" Type="http://schemas.openxmlformats.org/officeDocument/2006/relationships/hyperlink" Target="https://www.sv.uio.no/iss/forskning/om/masteroppgave-ved-klimaetaten/skriv-din-masteroppgave-i-samarbeid-med-klimaetaten.html" TargetMode="External"/><Relationship Id="rId4" Type="http://schemas.openxmlformats.org/officeDocument/2006/relationships/hyperlink" Target="https://www.uio.no/studier/emner/sv/iss/SGO2040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tjenester.oslo.kommune.no/ekstern/einnsyn-fillager/filtjeneste/fil?virksomhet=976819853&amp;filnavn=vedlegg%2F2018_12%2F1281595_1_1.pdf" TargetMode="Externa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DDD61E0-C4E1-40A5-B46C-F3611F77F5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67E35C71-5CF8-4C5C-8998-8B4E547AD781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t="13" b="1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12F66C-A7DF-4E76-B52E-6F039D18190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A6FEF6-BE23-46DF-84CC-D67A0584EBB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nn-NO" dirty="0"/>
              <a:t>Institutt for sosiologi og samfunnsgeografi</a:t>
            </a:r>
            <a:endParaRPr lang="nb-NO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96A6C-5074-4144-B283-4B2663566B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nb-NO" dirty="0"/>
              <a:t>Prosjekt bærekraftig Osl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B4AEC51-0CA8-44A8-B600-B08F51CF90C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b-NO" dirty="0"/>
              <a:t>Jemima García-Godos og Per Gunnar Rø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89CD4D6-9BFE-4876-B78E-AF5A1841ED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2EFFEB4-BFB1-4B24-9541-B3B2D0F02D3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038" y="4656104"/>
            <a:ext cx="5075367" cy="226283"/>
          </a:xfrm>
        </p:spPr>
        <p:txBody>
          <a:bodyPr/>
          <a:lstStyle/>
          <a:p>
            <a:r>
              <a:rPr lang="nb-NO" dirty="0"/>
              <a:t>Oslo kommune - </a:t>
            </a:r>
            <a:r>
              <a:rPr lang="nn-NO" dirty="0"/>
              <a:t>Intern koordineringsgruppe for oppfølging av campusstrategien</a:t>
            </a:r>
            <a:endParaRPr lang="nb-NO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4C3A44DA-E71F-40B8-B46B-330216DD33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0.10.2023</a:t>
            </a:r>
          </a:p>
        </p:txBody>
      </p:sp>
    </p:spTree>
    <p:extLst>
      <p:ext uri="{BB962C8B-B14F-4D97-AF65-F5344CB8AC3E}">
        <p14:creationId xmlns:p14="http://schemas.microsoft.com/office/powerpoint/2010/main" val="18074963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AECDCE-E706-4375-BE74-1ACB604A239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1DCF13-C9A6-4F30-8DF4-01B364604274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362BB7-131A-4728-BB2D-958ADD396A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Helt konkret, hva innebærer samarbeidet for Oslo kommune? 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AC288CFB-909B-4A27-AAE7-00CA9DF61E2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Deltakelse i arbeidsstu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FB7B8CC-233A-4AA7-BD7D-FBA1D77B86BC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dirty="0"/>
              <a:t>Ved semesterstart:</a:t>
            </a:r>
          </a:p>
          <a:p>
            <a:r>
              <a:rPr lang="nb-NO" sz="2000" b="1" dirty="0"/>
              <a:t>Arbeidsstue 2:</a:t>
            </a:r>
            <a:r>
              <a:rPr lang="nb-NO" sz="2000" dirty="0"/>
              <a:t> </a:t>
            </a:r>
            <a:r>
              <a:rPr lang="nb-NO" sz="2000" b="1" dirty="0">
                <a:solidFill>
                  <a:srgbClr val="00B050"/>
                </a:solidFill>
              </a:rPr>
              <a:t>Oslo – en bærekraftig by. Bli kjent med Oslo kommune</a:t>
            </a:r>
            <a:r>
              <a:rPr lang="nb-NO" sz="2000" dirty="0">
                <a:solidFill>
                  <a:srgbClr val="00B050"/>
                </a:solidFill>
              </a:rPr>
              <a:t>. </a:t>
            </a:r>
          </a:p>
          <a:p>
            <a:pPr lvl="1"/>
            <a:r>
              <a:rPr lang="nb-NO" sz="1800" dirty="0"/>
              <a:t>Presentasjon ved Oslo kommune: bærekraftstrategi, utfordringer, prosesser i gang m.m.</a:t>
            </a:r>
          </a:p>
          <a:p>
            <a:pPr lvl="1"/>
            <a:r>
              <a:rPr lang="nb-NO" sz="1800" dirty="0"/>
              <a:t>Fagpersoner fra deltakende etater, 15-30 minutter per innlegg, etterfulgt av spørsmål.</a:t>
            </a:r>
          </a:p>
          <a:p>
            <a:pPr marL="0" indent="0">
              <a:buNone/>
            </a:pPr>
            <a:r>
              <a:rPr lang="nb-NO" dirty="0"/>
              <a:t>Ved semesterslutt:</a:t>
            </a:r>
          </a:p>
          <a:p>
            <a:r>
              <a:rPr lang="nb-NO" sz="2000" b="1" dirty="0">
                <a:solidFill>
                  <a:srgbClr val="00B050"/>
                </a:solidFill>
              </a:rPr>
              <a:t>Avslutning:</a:t>
            </a:r>
            <a:r>
              <a:rPr lang="nb-NO" sz="2000" b="1" dirty="0"/>
              <a:t> </a:t>
            </a:r>
            <a:r>
              <a:rPr lang="nb-NO" sz="2000" dirty="0"/>
              <a:t>Mini-presentasjoner av studentprosjekter og plakatutstilling                – </a:t>
            </a:r>
            <a:r>
              <a:rPr lang="nb-NO" sz="2000" i="1" dirty="0"/>
              <a:t>kanskje i rådhuset? </a:t>
            </a:r>
            <a:endParaRPr lang="nb-NO" i="1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A0210C-AC17-472D-878B-BFED6B066F9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dirty="0"/>
              <a:t>Veiledn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669E19D-CCCC-4607-996A-DA75AD70A24A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pPr lvl="0">
              <a:spcAft>
                <a:spcPts val="600"/>
              </a:spcAft>
            </a:pPr>
            <a:r>
              <a:rPr lang="nb-NO" sz="2000" b="1" dirty="0">
                <a:solidFill>
                  <a:srgbClr val="00B050"/>
                </a:solidFill>
              </a:rPr>
              <a:t>En veiledningstime </a:t>
            </a:r>
            <a:r>
              <a:rPr lang="nb-NO" sz="2000" dirty="0"/>
              <a:t>(inntil 45 minutter) per studentgruppe midtveis i semester med fagpersoner fra deltakende etater.</a:t>
            </a:r>
          </a:p>
          <a:p>
            <a:pPr lvl="1">
              <a:spcAft>
                <a:spcPts val="600"/>
              </a:spcAft>
            </a:pPr>
            <a:r>
              <a:rPr lang="nb-NO" sz="1800" dirty="0"/>
              <a:t>Veiledningsdato/tid fastsettes semester før, som en del av undervisningsplanlegging ved ISS.</a:t>
            </a:r>
          </a:p>
          <a:p>
            <a:pPr lvl="1">
              <a:spcAft>
                <a:spcPts val="600"/>
              </a:spcAft>
            </a:pPr>
            <a:r>
              <a:rPr lang="nb-NO" sz="1800" dirty="0"/>
              <a:t>Forventet antall er 6-8 grupper.</a:t>
            </a:r>
          </a:p>
          <a:p>
            <a:pPr lvl="1">
              <a:spcAft>
                <a:spcPts val="600"/>
              </a:spcAft>
            </a:pPr>
            <a:r>
              <a:rPr lang="nb-NO" sz="1800" dirty="0"/>
              <a:t>Det er opptil Oslo kommune om det er ønskelig med flere veiledningstimer. </a:t>
            </a:r>
          </a:p>
        </p:txBody>
      </p:sp>
    </p:spTree>
    <p:extLst>
      <p:ext uri="{BB962C8B-B14F-4D97-AF65-F5344CB8AC3E}">
        <p14:creationId xmlns:p14="http://schemas.microsoft.com/office/powerpoint/2010/main" val="5304189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0076AB2-D694-4D00-B3A7-88B0B363695D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AD29F2-0270-41AE-AFB7-556A34BFBD2A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A47A00C-BADB-42D4-B599-FDDDCD220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rosessen</a:t>
            </a:r>
          </a:p>
        </p:txBody>
      </p:sp>
      <p:sp>
        <p:nvSpPr>
          <p:cNvPr id="15" name="Subtitle 14">
            <a:extLst>
              <a:ext uri="{FF2B5EF4-FFF2-40B4-BE49-F238E27FC236}">
                <a16:creationId xmlns:a16="http://schemas.microsoft.com/office/drawing/2014/main" id="{8B2BE932-30B2-462D-BED8-C8F9A26CA65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Internt, hittil og videre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4DE54C1C-C378-40A4-BCB6-8567DAFF5ACC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r>
              <a:rPr lang="nb-NO" dirty="0"/>
              <a:t>Bakgrunnsdokument klart, med innspill fra viserektor og fagmiljøet.</a:t>
            </a:r>
          </a:p>
          <a:p>
            <a:r>
              <a:rPr lang="nb-NO" dirty="0"/>
              <a:t>Arbeid med emnebeskrivelse, for diskusjon og godkjenning fram til mars 2024.</a:t>
            </a:r>
          </a:p>
          <a:p>
            <a:r>
              <a:rPr lang="nb-NO" dirty="0"/>
              <a:t>Innovasjonssertifikat under utforming:</a:t>
            </a:r>
          </a:p>
          <a:p>
            <a:pPr lvl="1"/>
            <a:r>
              <a:rPr lang="nb-NO" dirty="0"/>
              <a:t>Utlysningsfrist 1.november</a:t>
            </a:r>
          </a:p>
          <a:p>
            <a:pPr lvl="1"/>
            <a:r>
              <a:rPr lang="nb-NO" dirty="0"/>
              <a:t>Planlagt start høsten 2024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09765BE-D743-47AC-81BA-6AA7BE004AC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dirty="0"/>
              <a:t>Oslo kommun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8636D89-F551-41AD-AFCB-1B21795A1C56}"/>
              </a:ext>
            </a:extLst>
          </p:cNvPr>
          <p:cNvSpPr>
            <a:spLocks noGrp="1"/>
          </p:cNvSpPr>
          <p:nvPr>
            <p:ph sz="half" idx="31"/>
          </p:nvPr>
        </p:nvSpPr>
        <p:spPr/>
        <p:txBody>
          <a:bodyPr/>
          <a:lstStyle/>
          <a:p>
            <a:r>
              <a:rPr lang="nb-NO" dirty="0"/>
              <a:t>Alle innspill mottas med takk!</a:t>
            </a:r>
          </a:p>
          <a:p>
            <a:r>
              <a:rPr lang="nb-NO" dirty="0"/>
              <a:t>Formell avtale ila våren 2024?</a:t>
            </a:r>
          </a:p>
        </p:txBody>
      </p:sp>
    </p:spTree>
    <p:extLst>
      <p:ext uri="{BB962C8B-B14F-4D97-AF65-F5344CB8AC3E}">
        <p14:creationId xmlns:p14="http://schemas.microsoft.com/office/powerpoint/2010/main" val="6637450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8CCCDBF-C1BD-4EEC-8C95-890FDCFD10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39DE6FD-CC6C-4527-AF80-0BD6A89F6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20D8544-789C-4087-A345-91239F9C60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4"/>
            <a:ext cx="11471910" cy="1053119"/>
          </a:xfrm>
        </p:spPr>
        <p:txBody>
          <a:bodyPr/>
          <a:lstStyle/>
          <a:p>
            <a:r>
              <a:rPr lang="nb-NO" dirty="0"/>
              <a:t>Samarbeid ISS-UiO og Oslo kommu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1C176C4-263C-4045-8B7D-C5B96D18FF1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413162"/>
            <a:ext cx="11471910" cy="4486875"/>
          </a:xfrm>
        </p:spPr>
        <p:txBody>
          <a:bodyPr/>
          <a:lstStyle/>
          <a:p>
            <a:pPr marL="0" indent="0"/>
            <a:r>
              <a:rPr lang="nb-NO" b="0" i="0" dirty="0">
                <a:solidFill>
                  <a:srgbClr val="000000"/>
                </a:solidFill>
                <a:effectLst/>
                <a:latin typeface="Helvetica" panose="020B0604020202020204" pitchFamily="34" charset="0"/>
              </a:rPr>
              <a:t>Fra før av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Helvetica" panose="020B0604020202020204" pitchFamily="34" charset="0"/>
                <a:hlinkClick r:id="rId2"/>
              </a:rPr>
              <a:t>Osloforskning</a:t>
            </a:r>
            <a:endParaRPr lang="nb-NO" sz="2000" dirty="0">
              <a:latin typeface="Helvetica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Helvetica" panose="020B0604020202020204" pitchFamily="34" charset="0"/>
                <a:hlinkClick r:id="rId3"/>
              </a:rPr>
              <a:t>HGO4203 – </a:t>
            </a:r>
            <a:r>
              <a:rPr lang="nb-NO" sz="2000" dirty="0" err="1">
                <a:latin typeface="Helvetica" panose="020B0604020202020204" pitchFamily="34" charset="0"/>
                <a:hlinkClick r:id="rId3"/>
              </a:rPr>
              <a:t>Sustainable</a:t>
            </a:r>
            <a:r>
              <a:rPr lang="nb-NO" sz="2000" dirty="0">
                <a:latin typeface="Helvetica" panose="020B0604020202020204" pitchFamily="34" charset="0"/>
                <a:hlinkClick r:id="rId3"/>
              </a:rPr>
              <a:t> urban </a:t>
            </a:r>
            <a:r>
              <a:rPr lang="nb-NO" sz="2000" dirty="0" err="1">
                <a:latin typeface="Helvetica" panose="020B0604020202020204" pitchFamily="34" charset="0"/>
                <a:hlinkClick r:id="rId3"/>
              </a:rPr>
              <a:t>transformations</a:t>
            </a:r>
            <a:r>
              <a:rPr lang="nb-NO" sz="2000" dirty="0">
                <a:latin typeface="Helvetica" panose="020B0604020202020204" pitchFamily="34" charset="0"/>
                <a:hlinkClick r:id="rId3"/>
              </a:rPr>
              <a:t> </a:t>
            </a:r>
            <a:r>
              <a:rPr lang="nb-NO" sz="2000" dirty="0">
                <a:latin typeface="Helvetica" panose="020B0604020202020204" pitchFamily="34" charset="0"/>
              </a:rPr>
              <a:t>(praksisplass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latin typeface="Helvetica" panose="020B0604020202020204" pitchFamily="34" charset="0"/>
                <a:hlinkClick r:id="rId4"/>
              </a:rPr>
              <a:t>SGO2040 – </a:t>
            </a:r>
            <a:r>
              <a:rPr lang="nb-NO" sz="2000" dirty="0" err="1">
                <a:latin typeface="Helvetica" panose="020B0604020202020204" pitchFamily="34" charset="0"/>
                <a:hlinkClick r:id="rId4"/>
              </a:rPr>
              <a:t>CityStudio</a:t>
            </a:r>
            <a:r>
              <a:rPr lang="nb-NO" sz="2000" dirty="0">
                <a:latin typeface="Helvetica" panose="020B0604020202020204" pitchFamily="34" charset="0"/>
                <a:hlinkClick r:id="rId4"/>
              </a:rPr>
              <a:t> Oslo</a:t>
            </a:r>
            <a:endParaRPr lang="nb-NO" sz="2000" dirty="0">
              <a:latin typeface="Helvetica" panose="020B0604020202020204" pitchFamily="34" charset="0"/>
            </a:endParaRPr>
          </a:p>
          <a:p>
            <a:pPr marL="0" indent="0"/>
            <a:endParaRPr lang="nb-NO" b="0" i="0" dirty="0">
              <a:solidFill>
                <a:srgbClr val="000000"/>
              </a:solidFill>
              <a:effectLst/>
              <a:latin typeface="Helvetica" panose="020B0604020202020204" pitchFamily="34" charset="0"/>
            </a:endParaRPr>
          </a:p>
          <a:p>
            <a:pPr marL="0" indent="0"/>
            <a:r>
              <a:rPr lang="nb-NO" dirty="0">
                <a:latin typeface="Helvetica" panose="020B0604020202020204" pitchFamily="34" charset="0"/>
              </a:rPr>
              <a:t>Nye initiativ: </a:t>
            </a:r>
            <a:endParaRPr lang="nb-NO" b="0" i="0" dirty="0">
              <a:solidFill>
                <a:srgbClr val="000000"/>
              </a:solidFill>
              <a:effectLst/>
              <a:latin typeface="Helvetica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tx1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HGO4020 – HGO </a:t>
            </a:r>
            <a:r>
              <a:rPr lang="nb-NO" sz="2000" dirty="0" err="1">
                <a:solidFill>
                  <a:schemeClr val="tx1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Internship</a:t>
            </a:r>
            <a:r>
              <a:rPr lang="nb-NO" sz="2000" dirty="0">
                <a:solidFill>
                  <a:schemeClr val="tx1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: praksisplasser ved </a:t>
            </a:r>
            <a:r>
              <a:rPr lang="nb-NO" sz="2000" dirty="0">
                <a:solidFill>
                  <a:schemeClr val="tx1"/>
                </a:solidFill>
                <a:latin typeface="Helvetica" panose="020B0604020202020204" pitchFamily="34" charset="0"/>
              </a:rPr>
              <a:t>Plan- og bygningsetaten og Bymiljøetaten</a:t>
            </a:r>
            <a:endParaRPr lang="nb-NO" sz="2000" dirty="0">
              <a:solidFill>
                <a:schemeClr val="tx1"/>
              </a:solidFill>
              <a:latin typeface="Helvetica" panose="020B060402020202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563C1"/>
                </a:solidFill>
                <a:latin typeface="Helvetica" panose="020B0604020202020204" pitchFamily="34" charset="0"/>
                <a:sym typeface="Wingdings" panose="05000000000000000000" pitchFamily="2" charset="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steroppgave med klimaetaten</a:t>
            </a:r>
            <a:endParaRPr lang="nb-NO" sz="2000" dirty="0">
              <a:solidFill>
                <a:srgbClr val="0563C1"/>
              </a:solidFill>
              <a:latin typeface="Helvetica" panose="020B0604020202020204" pitchFamily="34" charset="0"/>
              <a:sym typeface="Wingdings" panose="05000000000000000000" pitchFamily="2" charset="2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chemeClr val="tx1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Fra </a:t>
            </a:r>
            <a:r>
              <a:rPr lang="nb-NO" sz="2000" dirty="0" err="1">
                <a:solidFill>
                  <a:schemeClr val="tx1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CityStudio</a:t>
            </a:r>
            <a:r>
              <a:rPr lang="nb-NO" sz="2000" dirty="0">
                <a:solidFill>
                  <a:schemeClr val="tx1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 til </a:t>
            </a:r>
            <a:r>
              <a:rPr lang="nb-NO" sz="2000" b="1" i="1" dirty="0">
                <a:solidFill>
                  <a:srgbClr val="00B050"/>
                </a:solidFill>
                <a:latin typeface="Helvetica" panose="020B0604020202020204" pitchFamily="34" charset="0"/>
                <a:sym typeface="Wingdings" panose="05000000000000000000" pitchFamily="2" charset="2"/>
              </a:rPr>
              <a:t>Prosjekt bærekraftig Oslo</a:t>
            </a:r>
            <a:endParaRPr lang="nb-NO" sz="2000" b="1" i="1" dirty="0">
              <a:solidFill>
                <a:srgbClr val="00B050"/>
              </a:solidFill>
              <a:effectLst/>
              <a:latin typeface="Helvetica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063618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1243" y="673769"/>
            <a:ext cx="9652630" cy="969250"/>
          </a:xfrm>
        </p:spPr>
        <p:txBody>
          <a:bodyPr/>
          <a:lstStyle/>
          <a:p>
            <a:r>
              <a:rPr lang="en-GB" dirty="0"/>
              <a:t>SGO2040 - </a:t>
            </a:r>
            <a:r>
              <a:rPr lang="en-GB" dirty="0" err="1"/>
              <a:t>CityStudio</a:t>
            </a:r>
            <a:r>
              <a:rPr lang="en-GB" dirty="0"/>
              <a:t> Osl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1243" y="2327752"/>
            <a:ext cx="6075031" cy="4366180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</a:pPr>
            <a:r>
              <a:rPr lang="nb-NO" b="1" dirty="0" err="1">
                <a:solidFill>
                  <a:schemeClr val="tx1"/>
                </a:solidFill>
              </a:rPr>
              <a:t>Bykunnskap</a:t>
            </a:r>
            <a:r>
              <a:rPr lang="nb-NO" b="1" dirty="0">
                <a:solidFill>
                  <a:schemeClr val="tx1"/>
                </a:solidFill>
              </a:rPr>
              <a:t>:</a:t>
            </a:r>
            <a:r>
              <a:rPr lang="nb-NO" dirty="0">
                <a:solidFill>
                  <a:schemeClr val="tx1"/>
                </a:solidFill>
              </a:rPr>
              <a:t> Kunnskap om Oslos strukturer, strategier og utfordringer, anvendelse av teorier og metoder i </a:t>
            </a:r>
            <a:r>
              <a:rPr lang="nb-NO" dirty="0" err="1">
                <a:solidFill>
                  <a:schemeClr val="tx1"/>
                </a:solidFill>
              </a:rPr>
              <a:t>byforskning</a:t>
            </a:r>
            <a:r>
              <a:rPr lang="nb-NO" dirty="0">
                <a:solidFill>
                  <a:schemeClr val="tx1"/>
                </a:solidFill>
              </a:rPr>
              <a:t> og planlegging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b="1" dirty="0">
                <a:solidFill>
                  <a:schemeClr val="tx1"/>
                </a:solidFill>
              </a:rPr>
              <a:t>Prosjektarbeid: </a:t>
            </a:r>
            <a:r>
              <a:rPr lang="nb-NO" dirty="0">
                <a:solidFill>
                  <a:schemeClr val="tx1"/>
                </a:solidFill>
              </a:rPr>
              <a:t>Studentene utvikler kritiske og konstruktive prosjekter, fra start til slutt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nb-NO" b="1" dirty="0">
                <a:solidFill>
                  <a:schemeClr val="tx1"/>
                </a:solidFill>
              </a:rPr>
              <a:t>Kommunikasjon:</a:t>
            </a:r>
            <a:r>
              <a:rPr lang="nb-NO" dirty="0">
                <a:solidFill>
                  <a:schemeClr val="tx1"/>
                </a:solidFill>
              </a:rPr>
              <a:t> Gruppearbeid, kontakt med eksterne aktører, presentasjoner, visuell kommunikasjon og ikke-akademisk skriving.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941BD8-411C-4A13-B4A9-888890BF96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6569" y="-10964"/>
            <a:ext cx="4355432" cy="6868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443190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39AEF3-7ACC-4238-914D-47BBF8B938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fordringer med </a:t>
            </a:r>
            <a:r>
              <a:rPr lang="nb-NO" dirty="0" err="1"/>
              <a:t>CityStudio</a:t>
            </a:r>
            <a:endParaRPr lang="nb-NO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F1F530A-525E-4793-B278-97A3B88B99D1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Bærekraftighet på langsikt</a:t>
            </a:r>
          </a:p>
          <a:p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EB50D4E-DF4F-40FB-B2A4-A4EC8E2DF460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sz="2000" dirty="0"/>
              <a:t>Svært ressurskrevende </a:t>
            </a:r>
          </a:p>
          <a:p>
            <a:r>
              <a:rPr lang="nb-NO" sz="2000" dirty="0"/>
              <a:t>Begrensninger for oppskalering og antall studenter som kan delta</a:t>
            </a:r>
          </a:p>
          <a:p>
            <a:r>
              <a:rPr lang="nb-NO" sz="2000" dirty="0"/>
              <a:t>Krever fulltids engasjement fra studentene</a:t>
            </a:r>
          </a:p>
          <a:p>
            <a:r>
              <a:rPr lang="nb-NO" sz="2000" dirty="0"/>
              <a:t>Kan være vanskelig å passe inn i enkelte studieprogrammer</a:t>
            </a:r>
          </a:p>
          <a:p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B3521B-3343-43C2-9666-399EC2C5090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 numCol="1"/>
          <a:lstStyle/>
          <a:p>
            <a:pPr>
              <a:lnSpc>
                <a:spcPct val="100000"/>
              </a:lnSpc>
            </a:pPr>
            <a:r>
              <a:rPr lang="en-GB" sz="2400" dirty="0" err="1"/>
              <a:t>UiO</a:t>
            </a:r>
            <a:endParaRPr lang="en-GB" sz="2400" dirty="0"/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99636D7-D3AD-4061-B8BD-A0BAE26F68D5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/>
          <a:srcRect l="24102" r="24102"/>
          <a:stretch>
            <a:fillRect/>
          </a:stretch>
        </p:blipFill>
        <p:spPr>
          <a:xfrm>
            <a:off x="7679218" y="360045"/>
            <a:ext cx="4152735" cy="5325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2932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7597CBE-260B-8F9A-E31E-12B4B00C2F0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733" r="18354" b="1"/>
          <a:stretch/>
        </p:blipFill>
        <p:spPr>
          <a:xfrm>
            <a:off x="7331885" y="3470047"/>
            <a:ext cx="4860116" cy="3395004"/>
          </a:xfrm>
          <a:prstGeom prst="rect">
            <a:avLst/>
          </a:prstGeom>
          <a:noFill/>
        </p:spPr>
      </p:pic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9B0F2368-50AD-1E18-5253-DDF4BB5DDE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2C0C1B-190F-F963-05E2-8A070635A50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C5357CA-0181-3DD6-FA97-697EDE8197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50" y="3921498"/>
            <a:ext cx="2143125" cy="2143125"/>
          </a:xfrm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002889B0-1C0B-78F3-5BF7-6DEBCE74EF1C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5"/>
          <a:srcRect r="-3" b="6858"/>
          <a:stretch/>
        </p:blipFill>
        <p:spPr>
          <a:xfrm>
            <a:off x="7224457" y="0"/>
            <a:ext cx="4967544" cy="3470047"/>
          </a:xfrm>
          <a:prstGeom prst="rect">
            <a:avLst/>
          </a:prstGeom>
          <a:noFill/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5091330-36CD-5FC8-7E9D-3BD9170A8FF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50" y="3055051"/>
            <a:ext cx="3810000" cy="3810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B907F8A-D582-1BAD-45BD-1DB3FEA5103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21950" y="2133656"/>
            <a:ext cx="3543979" cy="473139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A3A8B24-BA6C-6C1B-3E5F-9CA8247B0F5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6046" y="-6983"/>
            <a:ext cx="3232392" cy="323239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7C72595-7743-80E4-6408-3E6353EA0FF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-6983"/>
            <a:ext cx="4766046" cy="3062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7972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86D6CA-B03D-4842-A5E7-2B901E370B62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2336A7-DD10-49F4-8359-C77B5D9BC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 sz="3200" dirty="0"/>
              <a:t>Nye utdanningstilbud på UiO – en mulighet!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C8DE0B6B-9B8C-457C-903F-2A0618FC3EF0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88CCCC8-4C94-4C72-8C31-B26444D9637A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>
            <a:normAutofit/>
          </a:bodyPr>
          <a:lstStyle/>
          <a:p>
            <a:r>
              <a:rPr lang="nb-NO" dirty="0"/>
              <a:t>Bærekraftsertifikat</a:t>
            </a:r>
          </a:p>
          <a:p>
            <a:r>
              <a:rPr lang="nb-NO" b="1" dirty="0">
                <a:solidFill>
                  <a:srgbClr val="00B050"/>
                </a:solidFill>
              </a:rPr>
              <a:t>Innovasjonssertifikat</a:t>
            </a:r>
          </a:p>
          <a:p>
            <a:r>
              <a:rPr lang="nb-NO" dirty="0"/>
              <a:t>Digitaliseringssertifikat</a:t>
            </a:r>
          </a:p>
          <a:p>
            <a:endParaRPr lang="nb-NO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32F6BE-0008-4268-8EFC-79EDE5DF0F8D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Det samfunnsvitenskapelige fakulte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1CD18C1-302A-478C-A63D-0ACBA2C9E8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0566" y="1709939"/>
            <a:ext cx="7735270" cy="435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049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4727AE-CC8D-4616-B249-8B8FF2470CD1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nb-NO"/>
              <a:t>Det samfunnsvitenskapelige fakultet</a:t>
            </a:r>
          </a:p>
        </p:txBody>
      </p:sp>
      <p:sp>
        <p:nvSpPr>
          <p:cNvPr id="37" name="Slide Number Placeholder 2">
            <a:extLst>
              <a:ext uri="{FF2B5EF4-FFF2-40B4-BE49-F238E27FC236}">
                <a16:creationId xmlns:a16="http://schemas.microsoft.com/office/drawing/2014/main" id="{CBF7FDF2-3C49-7CEE-EEB3-2365EE9EEF17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39" name="Title 3">
            <a:extLst>
              <a:ext uri="{FF2B5EF4-FFF2-40B4-BE49-F238E27FC236}">
                <a16:creationId xmlns:a16="http://schemas.microsoft.com/office/drawing/2014/main" id="{FA6045B4-5914-C15A-DD9C-35E643E1C0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nb-NO" dirty="0"/>
              <a:t>Prosjekt bærekraftig Oslo </a:t>
            </a:r>
            <a:br>
              <a:rPr lang="nb-NO" dirty="0"/>
            </a:br>
            <a:endParaRPr lang="en-US" dirty="0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C0E010E4-3C1F-446A-8B41-AD132827E36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/>
              <a:t>Et innovasjonsemne i </a:t>
            </a:r>
            <a:r>
              <a:rPr lang="nb-NO" i="1"/>
              <a:t>Innovasjonssertifikat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72B96D1-1546-4814-A1A7-0140D3A9DE09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</p:spPr>
        <p:txBody>
          <a:bodyPr vert="horz" lIns="0" tIns="0" rIns="0" bIns="0" rtlCol="0">
            <a:normAutofit/>
          </a:bodyPr>
          <a:lstStyle/>
          <a:p>
            <a:r>
              <a:rPr lang="nb-NO" sz="2000" kern="1200" dirty="0"/>
              <a:t>Et </a:t>
            </a:r>
            <a:r>
              <a:rPr lang="nb-NO" sz="2000" kern="1200" dirty="0" err="1"/>
              <a:t>prosjektemne</a:t>
            </a:r>
            <a:r>
              <a:rPr lang="nb-NO" sz="2000" kern="1200" dirty="0"/>
              <a:t> på 10 studiepoeng.</a:t>
            </a:r>
          </a:p>
          <a:p>
            <a:r>
              <a:rPr lang="nb-NO" sz="2000" kern="1200" dirty="0"/>
              <a:t>På norsk.</a:t>
            </a:r>
          </a:p>
          <a:p>
            <a:r>
              <a:rPr lang="nb-NO" sz="2000" kern="1200" dirty="0"/>
              <a:t>Prosjektarbeid som arbeids- og undervisningsform.</a:t>
            </a:r>
          </a:p>
          <a:p>
            <a:r>
              <a:rPr lang="nb-NO" sz="2000" kern="1200" dirty="0"/>
              <a:t>Fokus på sosial og miljømessig bærekraft i Oslo-regionen.</a:t>
            </a:r>
          </a:p>
          <a:p>
            <a:r>
              <a:rPr lang="nb-NO" sz="2000" kern="1200" dirty="0"/>
              <a:t>30-40 studenter.</a:t>
            </a:r>
          </a:p>
          <a:p>
            <a:r>
              <a:rPr lang="nb-NO" sz="2000" dirty="0"/>
              <a:t>Et SOSGEO-emne, i samarbeid mellom samfunnsgeografi og sosiologi.</a:t>
            </a:r>
          </a:p>
          <a:p>
            <a:endParaRPr lang="en-US" kern="12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A22C23CB-DAC1-43FA-BDC5-B8C141170CF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 vert="horz" lIns="0" tIns="0" rIns="0" bIns="0" rtlCol="0">
            <a:normAutofit/>
          </a:bodyPr>
          <a:lstStyle/>
          <a:p>
            <a:endParaRPr lang="nb-NO" dirty="0"/>
          </a:p>
        </p:txBody>
      </p:sp>
      <p:pic>
        <p:nvPicPr>
          <p:cNvPr id="20" name="Picture 19" descr="A group of people around a table&#10;&#10;Description automatically generated">
            <a:extLst>
              <a:ext uri="{FF2B5EF4-FFF2-40B4-BE49-F238E27FC236}">
                <a16:creationId xmlns:a16="http://schemas.microsoft.com/office/drawing/2014/main" id="{42E7917A-103F-4746-B2CB-30AF2ED433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83" r="3534" b="-1"/>
          <a:stretch/>
        </p:blipFill>
        <p:spPr>
          <a:xfrm>
            <a:off x="6342741" y="1757498"/>
            <a:ext cx="5489213" cy="430139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782A4C78-5213-423E-9278-0934701C4D5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8F0CB7D-1E5A-4231-A782-523DADEA5BAD}"/>
              </a:ext>
            </a:extLst>
          </p:cNvPr>
          <p:cNvSpPr txBox="1"/>
          <p:nvPr/>
        </p:nvSpPr>
        <p:spPr>
          <a:xfrm>
            <a:off x="6342741" y="6235525"/>
            <a:ext cx="5071557" cy="207999"/>
          </a:xfrm>
          <a:prstGeom prst="rect">
            <a:avLst/>
          </a:prstGeom>
          <a:solidFill>
            <a:srgbClr val="0000FE">
              <a:alpha val="0"/>
            </a:srgbClr>
          </a:solidFill>
        </p:spPr>
        <p:txBody>
          <a:bodyPr vert="horz" lIns="0" tIns="0" rIns="0" bIns="0" rtlCol="0">
            <a:normAutofit/>
          </a:bodyPr>
          <a:lstStyle/>
          <a:p>
            <a:pPr defTabSz="914446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nb-NO" sz="1050" b="0" i="0" dirty="0">
                <a:solidFill>
                  <a:srgbClr val="666666"/>
                </a:solidFill>
                <a:effectLst/>
                <a:latin typeface="Clear Sans"/>
              </a:rPr>
              <a:t>Foto: </a:t>
            </a:r>
            <a:r>
              <a:rPr lang="nb-NO" sz="1050" b="0" i="0" dirty="0" err="1">
                <a:solidFill>
                  <a:srgbClr val="666666"/>
                </a:solidFill>
                <a:effectLst/>
                <a:latin typeface="Clear Sans"/>
              </a:rPr>
              <a:t>Jarli</a:t>
            </a:r>
            <a:r>
              <a:rPr lang="nb-NO" sz="1050" b="0" i="0" dirty="0">
                <a:solidFill>
                  <a:srgbClr val="666666"/>
                </a:solidFill>
                <a:effectLst/>
                <a:latin typeface="Clear Sans"/>
              </a:rPr>
              <a:t> &amp; Jordan/UiO</a:t>
            </a:r>
            <a:endParaRPr lang="nb-NO" sz="400" dirty="0"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44357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5F09168-9802-4B03-8291-052E1D5A7812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3E4663-2D9E-4A93-B3AE-E96460C4E530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87D1B94-9E1E-4580-AC4E-15E1B26ECF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i="0" dirty="0">
                <a:effectLst/>
                <a:latin typeface="Clear Sans"/>
              </a:rPr>
              <a:t>Prosjekt bærekraftig Oslo</a:t>
            </a:r>
            <a:endParaRPr lang="nb-NO" dirty="0"/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8610530B-4304-437D-A36D-37FD5D47C8E6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Prosjektarbeid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2B9A9431-1A6B-4277-B102-B5F56744E8C1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20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</a:t>
            </a:r>
            <a:r>
              <a:rPr lang="nb-NO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dentene vil utvikle et prosjekt fra start til slutt sammen med medstudenter for … </a:t>
            </a:r>
          </a:p>
          <a:p>
            <a:pPr marL="740734" lvl="1" indent="-342900">
              <a:buFont typeface="Wingdings" panose="05000000000000000000" pitchFamily="2" charset="2"/>
              <a:buChar char="ü"/>
            </a:pPr>
            <a:r>
              <a:rPr lang="nb-NO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å identifisere og avgrense en utfordring, </a:t>
            </a:r>
          </a:p>
          <a:p>
            <a:pPr marL="740734" lvl="1" indent="-342900">
              <a:buFont typeface="Wingdings" panose="05000000000000000000" pitchFamily="2" charset="2"/>
              <a:buChar char="ü"/>
            </a:pPr>
            <a:r>
              <a:rPr lang="nb-NO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ape og konkretisere et svar gjennom designprosesser og prosjektplanlegging, og</a:t>
            </a:r>
          </a:p>
          <a:p>
            <a:pPr marL="740734" lvl="1" indent="-342900">
              <a:buFont typeface="Wingdings" panose="05000000000000000000" pitchFamily="2" charset="2"/>
              <a:buChar char="ü"/>
            </a:pPr>
            <a:r>
              <a:rPr lang="nb-NO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ere ulike aktiviteter for å utforme, gjennomføre og teste prosjektidéen. </a:t>
            </a:r>
          </a:p>
          <a:p>
            <a:pPr marL="397834" lvl="1" indent="0">
              <a:buNone/>
            </a:pPr>
            <a:endParaRPr lang="nb-NO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97834" lvl="1" indent="0">
              <a:buNone/>
            </a:pPr>
            <a:r>
              <a:rPr lang="nb-NO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blem-orientert prosjektlæring (PPL): </a:t>
            </a:r>
          </a:p>
          <a:p>
            <a:pPr marL="397834" lvl="1" indent="0">
              <a:buNone/>
            </a:pPr>
            <a:r>
              <a:rPr lang="nb-NO" dirty="0">
                <a:solidFill>
                  <a:schemeClr val="accent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læring gjennom problem-orienterte prosjekter» </a:t>
            </a:r>
            <a:r>
              <a:rPr lang="nb-NO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Petersen og Sørensen 2020:21)</a:t>
            </a:r>
            <a:endParaRPr lang="nb-NO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35E2165-8AA4-4A8A-8FF1-69C9229346E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25514385-BFC3-44E9-8A7B-E8BF55883852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485683"/>
          </a:xfrm>
        </p:spPr>
        <p:txBody>
          <a:bodyPr/>
          <a:lstStyle/>
          <a:p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Grupper av 4-5 studenter.</a:t>
            </a:r>
          </a:p>
          <a:p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Veiledning i gruppearbeidets dynamikk, med fokus på forventningsavklaring, planlegging og arbeidsdeling.</a:t>
            </a:r>
          </a:p>
          <a:p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Innføring i relevante utfordringer og problemstillinger fra fagpersoner i Oslo kommune. </a:t>
            </a:r>
          </a:p>
          <a:p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Veiledning, oppfølging og tilbakemelding underveis i prosjektutviklingen. </a:t>
            </a:r>
          </a:p>
          <a:p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2 arbeidsstuer og 10 seminarer/prosjektstudio, samt 1 avslutning/prosjektpresentasjon</a:t>
            </a:r>
          </a:p>
          <a:p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2 </a:t>
            </a:r>
            <a:r>
              <a:rPr lang="nb-NO" sz="2000" dirty="0" err="1">
                <a:latin typeface="Calibri" panose="020F0502020204030204" pitchFamily="34" charset="0"/>
                <a:cs typeface="Times New Roman" panose="02020603050405020304" pitchFamily="18" charset="0"/>
              </a:rPr>
              <a:t>emneansvarlige</a:t>
            </a:r>
            <a:r>
              <a:rPr lang="nb-NO" sz="2000" dirty="0">
                <a:latin typeface="Calibri" panose="020F0502020204030204" pitchFamily="34" charset="0"/>
                <a:cs typeface="Times New Roman" panose="02020603050405020304" pitchFamily="18" charset="0"/>
              </a:rPr>
              <a:t> og seminarleder(e)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82452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DD04147-9F66-462C-A23D-9C4256EB090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CF6EB-2727-48AF-943A-1E520E890972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B2E3B2C-B4E4-4163-B2FC-9F1C18634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arbeid med Oslo kommune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531DA9BB-83FD-47B9-8B56-E5BA5F1717AD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Utvalgte temaområder for bærekraftig byutvikling i Oslo: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243448D6-6AFD-47BF-8A0B-5B68CA5E925A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endParaRPr lang="nb-NO" sz="2000" dirty="0">
              <a:solidFill>
                <a:schemeClr val="accent6"/>
              </a:solidFill>
            </a:endParaRPr>
          </a:p>
          <a:p>
            <a:r>
              <a:rPr lang="nb-NO" sz="2000" dirty="0">
                <a:solidFill>
                  <a:schemeClr val="accent6"/>
                </a:solidFill>
              </a:rPr>
              <a:t>Bymiljø:</a:t>
            </a:r>
            <a:r>
              <a:rPr lang="nb-NO" sz="2000" dirty="0"/>
              <a:t> </a:t>
            </a:r>
            <a:r>
              <a:rPr lang="nb-NO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ffentlige rom, friområder, rekreasjon, samferdsel, klimatiltak, energibruk, grønn omstilling.</a:t>
            </a:r>
            <a:endParaRPr lang="nb-NO" sz="2000" dirty="0"/>
          </a:p>
          <a:p>
            <a:r>
              <a:rPr lang="nb-NO" sz="2000" dirty="0">
                <a:solidFill>
                  <a:schemeClr val="accent6"/>
                </a:solidFill>
              </a:rPr>
              <a:t>Byutvikling og arealbruk: </a:t>
            </a:r>
            <a:r>
              <a:rPr lang="nb-NO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kommuneplanlegging, områdeplaner, reguleringsplaner, arealstrategier, sosial og fysisk infrastruktur, universell utforming.</a:t>
            </a:r>
            <a:endParaRPr lang="nb-NO" sz="2000" dirty="0"/>
          </a:p>
          <a:p>
            <a:r>
              <a:rPr lang="nb-NO" sz="2000" dirty="0">
                <a:solidFill>
                  <a:schemeClr val="accent6"/>
                </a:solidFill>
              </a:rPr>
              <a:t>Sosial bærekraft: </a:t>
            </a:r>
            <a:r>
              <a:rPr lang="nb-NO" sz="20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levekår, segregasjon, ulikhet, brukermedvirkning, kommunale tjenester.</a:t>
            </a:r>
            <a:endParaRPr lang="nb-NO" sz="20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D938FF4-4B9E-484A-9784-01746AA1ED3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dirty="0"/>
              <a:t>Etater: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5E1E186-6CBC-446C-ACA8-ECA4D5F0285E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506030"/>
          </a:xfrm>
        </p:spPr>
        <p:txBody>
          <a:bodyPr/>
          <a:lstStyle/>
          <a:p>
            <a:pPr lvl="0">
              <a:spcAft>
                <a:spcPts val="600"/>
              </a:spcAft>
            </a:pPr>
            <a:r>
              <a:rPr lang="nb-NO" sz="2000" dirty="0"/>
              <a:t>Bymiljøetaten </a:t>
            </a:r>
          </a:p>
          <a:p>
            <a:pPr lvl="0">
              <a:spcAft>
                <a:spcPts val="600"/>
              </a:spcAft>
            </a:pPr>
            <a:r>
              <a:rPr lang="nb-NO" sz="2000" dirty="0"/>
              <a:t>Plan- og bygningsetaten</a:t>
            </a:r>
          </a:p>
          <a:p>
            <a:pPr lvl="0">
              <a:spcAft>
                <a:spcPts val="600"/>
              </a:spcAft>
            </a:pPr>
            <a:r>
              <a:rPr lang="nb-NO" sz="2000" dirty="0"/>
              <a:t>Velferdsetaten</a:t>
            </a:r>
          </a:p>
          <a:p>
            <a:pPr lvl="0">
              <a:spcAft>
                <a:spcPts val="600"/>
              </a:spcAft>
            </a:pPr>
            <a:r>
              <a:rPr lang="nb-NO" sz="2000" dirty="0"/>
              <a:t>Klimaetaten</a:t>
            </a:r>
          </a:p>
          <a:p>
            <a:pPr marL="0" indent="0">
              <a:buNone/>
            </a:pPr>
            <a:r>
              <a:rPr lang="nb-NO" sz="2000" dirty="0"/>
              <a:t>I disse har vi allerede kontakter og gode samarbeidserfaringer.</a:t>
            </a:r>
          </a:p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r>
              <a:rPr lang="nb-NO" sz="2000" dirty="0"/>
              <a:t>Også aktuelt: Arbeidet med innovasjonsdistrikter</a:t>
            </a:r>
          </a:p>
          <a:p>
            <a:pPr marL="0" indent="0">
              <a:buNone/>
            </a:pPr>
            <a:r>
              <a:rPr lang="nb-NO" sz="20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(</a:t>
            </a:r>
            <a:r>
              <a:rPr lang="nb-NO" sz="16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Campus Oslo – strategi for utvikling av kunnskapshovedstaden</a:t>
            </a:r>
            <a:r>
              <a:rPr lang="nb-NO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nb-NO" sz="1800" dirty="0"/>
          </a:p>
          <a:p>
            <a:endParaRPr lang="nb-NO" sz="2000" dirty="0"/>
          </a:p>
        </p:txBody>
      </p:sp>
    </p:spTree>
    <p:extLst>
      <p:ext uri="{BB962C8B-B14F-4D97-AF65-F5344CB8AC3E}">
        <p14:creationId xmlns:p14="http://schemas.microsoft.com/office/powerpoint/2010/main" val="4204753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D252558-4BE6-4419-BD0F-8F4033866C84}" vid="{E986C478-86F4-4CE6-AD00-15FE2F4DFF5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e5e35b8c-bb2a-40e7-acd7-beed1d1f14b8"/>
    <ds:schemaRef ds:uri="http://schemas.microsoft.com/office/infopath/2007/PartnerControls"/>
    <ds:schemaRef ds:uri="45a9c032-1c21-4297-bc4a-1b0e359a6c15"/>
    <ds:schemaRef ds:uri="http://purl.org/dc/terms/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mal_iss_bm (1)</Template>
  <TotalTime>275</TotalTime>
  <Words>906</Words>
  <Application>Microsoft Office PowerPoint</Application>
  <PresentationFormat>Widescreen</PresentationFormat>
  <Paragraphs>130</Paragraphs>
  <Slides>11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Arial, sans-serif</vt:lpstr>
      <vt:lpstr>Calibri</vt:lpstr>
      <vt:lpstr>Clear Sans</vt:lpstr>
      <vt:lpstr>Helvetica</vt:lpstr>
      <vt:lpstr>Wingdings</vt:lpstr>
      <vt:lpstr>Office Theme</vt:lpstr>
      <vt:lpstr>think-cell Slide</vt:lpstr>
      <vt:lpstr>PowerPoint Presentation</vt:lpstr>
      <vt:lpstr>Samarbeid ISS-UiO og Oslo kommune</vt:lpstr>
      <vt:lpstr>SGO2040 - CityStudio Oslo</vt:lpstr>
      <vt:lpstr>Utfordringer med CityStudio</vt:lpstr>
      <vt:lpstr>PowerPoint Presentation</vt:lpstr>
      <vt:lpstr>Nye utdanningstilbud på UiO – en mulighet!</vt:lpstr>
      <vt:lpstr>Prosjekt bærekraftig Oslo  </vt:lpstr>
      <vt:lpstr>Prosjekt bærekraftig Oslo</vt:lpstr>
      <vt:lpstr>Samarbeid med Oslo kommune</vt:lpstr>
      <vt:lpstr>Helt konkret, hva innebærer samarbeidet for Oslo kommune? </vt:lpstr>
      <vt:lpstr>Prosess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mima Garcia-Godos Naveda</dc:creator>
  <cp:lastModifiedBy>Jemima Garcia-Godos Naveda</cp:lastModifiedBy>
  <cp:revision>38</cp:revision>
  <dcterms:created xsi:type="dcterms:W3CDTF">2023-03-07T13:43:22Z</dcterms:created>
  <dcterms:modified xsi:type="dcterms:W3CDTF">2023-11-08T16:1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